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89" r:id="rId2"/>
    <p:sldId id="293" r:id="rId3"/>
    <p:sldId id="371" r:id="rId4"/>
    <p:sldId id="380" r:id="rId5"/>
    <p:sldId id="342" r:id="rId6"/>
    <p:sldId id="353" r:id="rId7"/>
    <p:sldId id="382" r:id="rId8"/>
    <p:sldId id="357" r:id="rId9"/>
    <p:sldId id="361" r:id="rId10"/>
    <p:sldId id="348" r:id="rId11"/>
    <p:sldId id="344" r:id="rId12"/>
    <p:sldId id="377" r:id="rId13"/>
    <p:sldId id="343" r:id="rId14"/>
    <p:sldId id="372" r:id="rId15"/>
    <p:sldId id="378" r:id="rId16"/>
    <p:sldId id="362" r:id="rId17"/>
    <p:sldId id="339" r:id="rId18"/>
    <p:sldId id="381" r:id="rId19"/>
    <p:sldId id="257" r:id="rId20"/>
  </p:sldIdLst>
  <p:sldSz cx="12192000" cy="6858000"/>
  <p:notesSz cx="6858000" cy="9144000"/>
  <p:custDataLst>
    <p:tags r:id="rId23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117AA6"/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93457" autoAdjust="0"/>
  </p:normalViewPr>
  <p:slideViewPr>
    <p:cSldViewPr snapToGrid="0">
      <p:cViewPr varScale="1">
        <p:scale>
          <a:sx n="62" d="100"/>
          <a:sy n="62" d="100"/>
        </p:scale>
        <p:origin x="868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828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20.9.2022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20.9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Prajwaa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harjan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 Kuvateksti: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Guyanu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Maya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asnet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la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rismjö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som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land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annat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används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til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nepalesiska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kringlo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171680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Minna Havunen; </a:t>
            </a:r>
            <a:r>
              <a:rPr lang="fi-FI" dirty="0" err="1"/>
              <a:t>Kuva_Minna</a:t>
            </a:r>
            <a:r>
              <a:rPr lang="fi-FI" dirty="0"/>
              <a:t> </a:t>
            </a:r>
            <a:r>
              <a:rPr lang="fi-FI" dirty="0" err="1"/>
              <a:t>Havunen_Tansania_puu</a:t>
            </a:r>
            <a:r>
              <a:rPr lang="fi-FI" dirty="0"/>
              <a:t>_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4000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Ilkka Koivisto; TangKrang-koulu-kukkaniityn-keskella-IlkkaKoivisto-1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87043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Upu Leppänen; Tao </a:t>
            </a:r>
            <a:r>
              <a:rPr lang="fi-FI" dirty="0" err="1"/>
              <a:t>Yanin</a:t>
            </a:r>
            <a:r>
              <a:rPr lang="fi-FI" dirty="0"/>
              <a:t> seurakunnan ruokajakelu (</a:t>
            </a:r>
            <a:r>
              <a:rPr lang="fi-FI" dirty="0" err="1"/>
              <a:t>Foodlink</a:t>
            </a:r>
            <a:r>
              <a:rPr lang="fi-FI" dirty="0"/>
              <a:t>) 2015, Hongkong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71564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Jan-Eerik Leppänen; ”HUNAN seurakuntatyö, koulutus 6.6.2016”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953727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Upu Leppänen; </a:t>
            </a:r>
            <a:r>
              <a:rPr lang="fi-FI" dirty="0" err="1"/>
              <a:t>Lantau</a:t>
            </a:r>
            <a:r>
              <a:rPr lang="fi-FI" dirty="0"/>
              <a:t>, Hongkong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61881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Anna Peltonen; </a:t>
            </a:r>
            <a:r>
              <a:rPr lang="fi-FI" dirty="0" err="1"/>
              <a:t>Krousin</a:t>
            </a:r>
            <a:r>
              <a:rPr lang="fi-FI" dirty="0"/>
              <a:t> kylä, Kambodzh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8007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Upu Leppänen; </a:t>
            </a:r>
            <a:r>
              <a:rPr lang="fi-FI" dirty="0" err="1"/>
              <a:t>Kep</a:t>
            </a:r>
            <a:r>
              <a:rPr lang="fi-FI" dirty="0"/>
              <a:t>, Kambodzh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35287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Pirre Saario; Kaivo </a:t>
            </a:r>
            <a:r>
              <a:rPr lang="fi-FI" dirty="0" err="1"/>
              <a:t>Thiecknan</a:t>
            </a:r>
            <a:r>
              <a:rPr lang="fi-FI" dirty="0"/>
              <a:t> kylässä, Senegal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212824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Iiris Arjanne; SN801 </a:t>
            </a:r>
            <a:r>
              <a:rPr lang="fi-FI" dirty="0" err="1"/>
              <a:t>Latyr</a:t>
            </a:r>
            <a:r>
              <a:rPr lang="fi-FI" dirty="0"/>
              <a:t> </a:t>
            </a:r>
            <a:r>
              <a:rPr lang="fi-FI" dirty="0" err="1"/>
              <a:t>Dioufin</a:t>
            </a:r>
            <a:r>
              <a:rPr lang="fi-FI" dirty="0"/>
              <a:t> virkaanastujaiset ja jumalanpalvelus (71)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92223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55DA76B5-D7F4-A810-3D21-836E92107A21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60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20.9.2022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0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20.9.2022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20.9.2022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0ACAD9E6-F15E-0EF5-9B08-E4B58D6F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5" b="1104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6E51947E-8BDE-625E-08C0-11F13335CB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  <p:sp>
        <p:nvSpPr>
          <p:cNvPr id="8" name="Otsikko 1">
            <a:extLst>
              <a:ext uri="{FF2B5EF4-FFF2-40B4-BE49-F238E27FC236}">
                <a16:creationId xmlns:a16="http://schemas.microsoft.com/office/drawing/2014/main" id="{8DB3D291-BE51-A28C-FE34-492CEA93AD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113" y="1785796"/>
            <a:ext cx="5354472" cy="768769"/>
          </a:xfrm>
        </p:spPr>
        <p:txBody>
          <a:bodyPr>
            <a:normAutofit fontScale="90000"/>
          </a:bodyPr>
          <a:lstStyle/>
          <a:p>
            <a:pPr algn="l"/>
            <a:r>
              <a:rPr lang="fi-FI" sz="4400" dirty="0">
                <a:solidFill>
                  <a:schemeClr val="bg1"/>
                </a:solidFill>
              </a:rPr>
              <a:t>Yhteinen leipämme</a:t>
            </a:r>
            <a:br>
              <a:rPr lang="fi-FI" sz="4400" dirty="0">
                <a:solidFill>
                  <a:schemeClr val="bg1"/>
                </a:solidFill>
              </a:rPr>
            </a:br>
            <a:r>
              <a:rPr lang="fi-FI" sz="4400" dirty="0">
                <a:solidFill>
                  <a:schemeClr val="bg1"/>
                </a:solidFill>
              </a:rPr>
              <a:t>- virret kuvilla</a:t>
            </a:r>
          </a:p>
        </p:txBody>
      </p:sp>
      <p:cxnSp>
        <p:nvCxnSpPr>
          <p:cNvPr id="15" name="Suora yhdysviiva 14">
            <a:extLst>
              <a:ext uri="{FF2B5EF4-FFF2-40B4-BE49-F238E27FC236}">
                <a16:creationId xmlns:a16="http://schemas.microsoft.com/office/drawing/2014/main" id="{827F2DCF-7A99-3050-1BE8-72E07399A4C4}"/>
              </a:ext>
            </a:extLst>
          </p:cNvPr>
          <p:cNvCxnSpPr/>
          <p:nvPr/>
        </p:nvCxnSpPr>
        <p:spPr>
          <a:xfrm>
            <a:off x="914761" y="2657590"/>
            <a:ext cx="28387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Kuva 16">
            <a:extLst>
              <a:ext uri="{FF2B5EF4-FFF2-40B4-BE49-F238E27FC236}">
                <a16:creationId xmlns:a16="http://schemas.microsoft.com/office/drawing/2014/main" id="{984D7A02-F60B-BF21-3D86-04A40F8776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7" t="19755" r="11330" b="22398"/>
          <a:stretch/>
        </p:blipFill>
        <p:spPr>
          <a:xfrm>
            <a:off x="831376" y="2985533"/>
            <a:ext cx="1540852" cy="391634"/>
          </a:xfrm>
          <a:prstGeom prst="rect">
            <a:avLst/>
          </a:prstGeom>
        </p:spPr>
      </p:pic>
      <p:sp>
        <p:nvSpPr>
          <p:cNvPr id="18" name="Otsikko 1">
            <a:extLst>
              <a:ext uri="{FF2B5EF4-FFF2-40B4-BE49-F238E27FC236}">
                <a16:creationId xmlns:a16="http://schemas.microsoft.com/office/drawing/2014/main" id="{0F31631C-37C2-C644-8570-0A9F988F0E36}"/>
              </a:ext>
            </a:extLst>
          </p:cNvPr>
          <p:cNvSpPr txBox="1">
            <a:spLocks/>
          </p:cNvSpPr>
          <p:nvPr/>
        </p:nvSpPr>
        <p:spPr>
          <a:xfrm>
            <a:off x="812325" y="3343982"/>
            <a:ext cx="1965278" cy="48054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2800" b="0" dirty="0">
                <a:solidFill>
                  <a:schemeClr val="bg1"/>
                </a:solidFill>
              </a:rPr>
              <a:t>Syksy 2022</a:t>
            </a:r>
          </a:p>
        </p:txBody>
      </p:sp>
    </p:spTree>
    <p:extLst>
      <p:ext uri="{BB962C8B-B14F-4D97-AF65-F5344CB8AC3E}">
        <p14:creationId xmlns:p14="http://schemas.microsoft.com/office/powerpoint/2010/main" val="222111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 descr="Kuva, joka sisältää kohteen henkilö, istuminen, vauva&#10;&#10;Kuvaus luotu automaattisesti">
            <a:extLst>
              <a:ext uri="{FF2B5EF4-FFF2-40B4-BE49-F238E27FC236}">
                <a16:creationId xmlns:a16="http://schemas.microsoft.com/office/drawing/2014/main" id="{BA6DE167-7FE2-344B-15B0-CE15042673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9153153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63100" y="-1"/>
            <a:ext cx="2628900" cy="4521201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Oi Isä meidän,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huolen meistä kannat,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leipämme meille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joka päivä annat.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Siis lapsen lailla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sinuun luotamme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ja hyvyyteesi, Isä,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turvaamme.</a:t>
            </a:r>
          </a:p>
          <a:p>
            <a:pPr algn="r"/>
            <a:r>
              <a:rPr lang="fi-FI" sz="2800" dirty="0">
                <a:solidFill>
                  <a:schemeClr val="bg1"/>
                </a:solidFill>
                <a:latin typeface="Gabriola" panose="04040605051002020D02" pitchFamily="82" charset="0"/>
              </a:rPr>
              <a:t>Virsi 366:1</a:t>
            </a:r>
            <a:endParaRPr lang="fi-FI" sz="28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275725B5-5910-48BE-E8AC-CC8D255FE07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07761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6276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 descr="Kuva, joka sisältää kohteen puu, ulko, ruoho, kasvi&#10;&#10;Kuvaus luotu automaattisesti">
            <a:extLst>
              <a:ext uri="{FF2B5EF4-FFF2-40B4-BE49-F238E27FC236}">
                <a16:creationId xmlns:a16="http://schemas.microsoft.com/office/drawing/2014/main" id="{7D6535BE-A25D-C2B6-32C1-DFC1E00E43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34399" y="0"/>
            <a:ext cx="3657125" cy="51435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un Herra hoita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paimenta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ei silloin mitään puutu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kaitsemasta minua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ei väsy, ei hän suutu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ruokkii taivaan leivällä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 ja elävällä vedellä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virvoittaa sieluani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375:1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87B8470F-4682-40F1-ECB9-F1FE77C4009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23351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83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702127"/>
            <a:ext cx="5094604" cy="4001152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Jeesus, askeleesi painoit pintaan m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yön ja uupumuksen tulit tuntem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Iloitsit ja itkit, ystäviä hai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iinin, ohraleivän syötäväksi sai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älän, puutteen maill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urruit leivän laill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eille elämäksi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10759" y="4149043"/>
            <a:ext cx="137984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17:1</a:t>
            </a:r>
          </a:p>
        </p:txBody>
      </p:sp>
      <p:sp>
        <p:nvSpPr>
          <p:cNvPr id="4" name="Alaotsikko 1">
            <a:extLst>
              <a:ext uri="{FF2B5EF4-FFF2-40B4-BE49-F238E27FC236}">
                <a16:creationId xmlns:a16="http://schemas.microsoft.com/office/drawing/2014/main" id="{CFE965FD-7C7B-782E-4865-3781699B8D29}"/>
              </a:ext>
            </a:extLst>
          </p:cNvPr>
          <p:cNvSpPr txBox="1">
            <a:spLocks/>
          </p:cNvSpPr>
          <p:nvPr/>
        </p:nvSpPr>
        <p:spPr>
          <a:xfrm>
            <a:off x="1001396" y="702127"/>
            <a:ext cx="3679548" cy="34469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sz="3200" i="1" dirty="0">
                <a:latin typeface="Gabriola" panose="04040605051002020D02" pitchFamily="82" charset="0"/>
              </a:rPr>
              <a:t>Nälkäisiä auttaisinko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aittaisinko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stäni puolikkaan?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ksaisinko muserretu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annistetu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uttaa maasta nousemaan?</a:t>
            </a:r>
          </a:p>
        </p:txBody>
      </p:sp>
      <p:sp>
        <p:nvSpPr>
          <p:cNvPr id="5" name="Otsikko 2">
            <a:extLst>
              <a:ext uri="{FF2B5EF4-FFF2-40B4-BE49-F238E27FC236}">
                <a16:creationId xmlns:a16="http://schemas.microsoft.com/office/drawing/2014/main" id="{6EBC20F0-33E4-9B74-42BD-8F7C17CE75D8}"/>
              </a:ext>
            </a:extLst>
          </p:cNvPr>
          <p:cNvSpPr txBox="1">
            <a:spLocks/>
          </p:cNvSpPr>
          <p:nvPr/>
        </p:nvSpPr>
        <p:spPr>
          <a:xfrm>
            <a:off x="3301099" y="4149043"/>
            <a:ext cx="1379845" cy="5542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3000">
                <a:latin typeface="Gabriola" panose="04040605051002020D02" pitchFamily="82" charset="0"/>
              </a:rPr>
              <a:t>Virsi 441:4</a:t>
            </a:r>
            <a:endParaRPr lang="fi-FI" sz="3000" dirty="0"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5142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 descr="Kuva, joka sisältää kohteen puu, ulko, henkilö&#10;&#10;Kuvaus luotu automaattisesti">
            <a:extLst>
              <a:ext uri="{FF2B5EF4-FFF2-40B4-BE49-F238E27FC236}">
                <a16:creationId xmlns:a16="http://schemas.microsoft.com/office/drawing/2014/main" id="{44E14E8B-D915-F3EF-0ADF-3F2F49F700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28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44149" y="0"/>
            <a:ext cx="3547851" cy="29337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rm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issä leipää murretaan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öyhää lasta ruokitaan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erra toimii päällä maan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armossaan ja voimassaan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416:3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66F4EE47-1BF1-CC07-AD9F-620FF8B82C0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827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8146" y="1625598"/>
            <a:ext cx="3831817" cy="2329543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Tee uskossa, toivossa työ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leipäsi rauhassa syö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n Herrasi armo on myötä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iin murheetta </a:t>
            </a:r>
            <a:r>
              <a:rPr lang="fi-FI" sz="3200" i="1" dirty="0" err="1">
                <a:latin typeface="Gabriola" panose="04040605051002020D02" pitchFamily="82" charset="0"/>
              </a:rPr>
              <a:t>nukkuos</a:t>
            </a:r>
            <a:r>
              <a:rPr lang="fi-FI" sz="3200" i="1" dirty="0">
                <a:latin typeface="Gabriola" panose="04040605051002020D02" pitchFamily="82" charset="0"/>
              </a:rPr>
              <a:t> yö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55991" y="3900713"/>
            <a:ext cx="1553972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21:7a</a:t>
            </a:r>
          </a:p>
        </p:txBody>
      </p:sp>
      <p:sp>
        <p:nvSpPr>
          <p:cNvPr id="4" name="Alaotsikko 1">
            <a:extLst>
              <a:ext uri="{FF2B5EF4-FFF2-40B4-BE49-F238E27FC236}">
                <a16:creationId xmlns:a16="http://schemas.microsoft.com/office/drawing/2014/main" id="{AD82EE2E-AB6E-B958-628C-1D53C9C8A92B}"/>
              </a:ext>
            </a:extLst>
          </p:cNvPr>
          <p:cNvSpPr txBox="1">
            <a:spLocks/>
          </p:cNvSpPr>
          <p:nvPr/>
        </p:nvSpPr>
        <p:spPr>
          <a:xfrm>
            <a:off x="6682039" y="1625598"/>
            <a:ext cx="2917460" cy="22751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sz="3200" i="1" dirty="0">
                <a:latin typeface="Gabriola" panose="04040605051002020D02" pitchFamily="82" charset="0"/>
              </a:rPr>
              <a:t>Taivaan isä me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n lahjoittaa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aaroissa hän suoj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on karkottaa.</a:t>
            </a:r>
          </a:p>
        </p:txBody>
      </p:sp>
      <p:sp>
        <p:nvSpPr>
          <p:cNvPr id="5" name="Otsikko 2">
            <a:extLst>
              <a:ext uri="{FF2B5EF4-FFF2-40B4-BE49-F238E27FC236}">
                <a16:creationId xmlns:a16="http://schemas.microsoft.com/office/drawing/2014/main" id="{734E3B0A-F2F6-CDD2-D14D-99819F18178A}"/>
              </a:ext>
            </a:extLst>
          </p:cNvPr>
          <p:cNvSpPr txBox="1">
            <a:spLocks/>
          </p:cNvSpPr>
          <p:nvPr/>
        </p:nvSpPr>
        <p:spPr>
          <a:xfrm>
            <a:off x="8219654" y="3811814"/>
            <a:ext cx="1379845" cy="55423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3000" dirty="0">
                <a:latin typeface="Gabriola" panose="04040605051002020D02" pitchFamily="82" charset="0"/>
              </a:rPr>
              <a:t>Virsi 494:2</a:t>
            </a:r>
          </a:p>
        </p:txBody>
      </p:sp>
    </p:spTree>
    <p:extLst>
      <p:ext uri="{BB962C8B-B14F-4D97-AF65-F5344CB8AC3E}">
        <p14:creationId xmlns:p14="http://schemas.microsoft.com/office/powerpoint/2010/main" val="2876104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>
            <a:extLst>
              <a:ext uri="{FF2B5EF4-FFF2-40B4-BE49-F238E27FC236}">
                <a16:creationId xmlns:a16="http://schemas.microsoft.com/office/drawing/2014/main" id="{7DA3A24E-6809-DEE2-E8BA-25824E4031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8" y="0"/>
            <a:ext cx="13400637" cy="8921621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476" y="-17916"/>
            <a:ext cx="3233145" cy="4018416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Rakkaalla läsnäololl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irkasta päivä jokainen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Pyhästä ehtoollisest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uo ilo ylimaallinen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Leivässä saavu siinäkin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jota me syömme arkisin.</a:t>
            </a:r>
          </a:p>
          <a:p>
            <a:pPr algn="l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465:3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48747578-B045-3AF4-BC7D-5CA3CAF5F43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5909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 descr="Kuva, joka sisältää kohteen ulko, puu, ruoho, kenttä&#10;&#10;Kuvaus luotu automaattisesti">
            <a:extLst>
              <a:ext uri="{FF2B5EF4-FFF2-40B4-BE49-F238E27FC236}">
                <a16:creationId xmlns:a16="http://schemas.microsoft.com/office/drawing/2014/main" id="{D8C025CB-9363-5DAD-A95D-34CB004AD8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9144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05368" y="0"/>
            <a:ext cx="3486157" cy="51943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maahan sateen heitti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oi loistaa auringon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aan siunaukseen peitti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Isä, luoja on.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e siunaus näin siirtyi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peltoomme, </a:t>
            </a:r>
            <a:r>
              <a:rPr lang="fi-FI" sz="3200" i="1" dirty="0">
                <a:solidFill>
                  <a:srgbClr val="F0F0F0"/>
                </a:solidFill>
                <a:latin typeface="Gabriola" panose="04040605051002020D02" pitchFamily="82" charset="0"/>
              </a:rPr>
              <a:t>leipäämme</a:t>
            </a:r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ja Herran hyvyys piirty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 jokaiseen päiväämme.</a:t>
            </a:r>
          </a:p>
          <a:p>
            <a:pPr algn="l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575:2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  <a:p>
            <a:pPr algn="l"/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11" name="Kuva 10">
            <a:extLst>
              <a:ext uri="{FF2B5EF4-FFF2-40B4-BE49-F238E27FC236}">
                <a16:creationId xmlns:a16="http://schemas.microsoft.com/office/drawing/2014/main" id="{370C90DE-9C04-E343-6E06-7D1814D2755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8829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6C8B4C-9202-997C-A21E-363E53760D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4" y="1422200"/>
            <a:ext cx="9051631" cy="1009915"/>
          </a:xfrm>
        </p:spPr>
        <p:txBody>
          <a:bodyPr>
            <a:normAutofit fontScale="90000"/>
          </a:bodyPr>
          <a:lstStyle/>
          <a:p>
            <a:r>
              <a:rPr lang="fi-FI" sz="6700" dirty="0">
                <a:latin typeface="Gabriola" panose="04040605051002020D02" pitchFamily="82" charset="0"/>
              </a:rPr>
              <a:t>Jokapäiväinen leipämme:</a:t>
            </a:r>
            <a:endParaRPr lang="fi-FI" dirty="0">
              <a:latin typeface="Gabriola" panose="04040605051002020D02" pitchFamily="82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C74A8E0-E5A6-96FA-89E1-10FF87DD540E}"/>
              </a:ext>
            </a:extLst>
          </p:cNvPr>
          <p:cNvSpPr txBox="1">
            <a:spLocks/>
          </p:cNvSpPr>
          <p:nvPr/>
        </p:nvSpPr>
        <p:spPr>
          <a:xfrm>
            <a:off x="1570184" y="2597869"/>
            <a:ext cx="9051631" cy="8311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4400" dirty="0">
                <a:latin typeface="Gabriola" panose="04040605051002020D02" pitchFamily="82" charset="0"/>
              </a:rPr>
              <a:t>Jumalan läsnäolo, siunaus ja rukous</a:t>
            </a:r>
            <a:endParaRPr lang="fi-FI" dirty="0"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10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6C74A8E0-E5A6-96FA-89E1-10FF87DD540E}"/>
              </a:ext>
            </a:extLst>
          </p:cNvPr>
          <p:cNvSpPr txBox="1">
            <a:spLocks/>
          </p:cNvSpPr>
          <p:nvPr/>
        </p:nvSpPr>
        <p:spPr>
          <a:xfrm>
            <a:off x="1955307" y="2286000"/>
            <a:ext cx="8281386" cy="149134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3200" dirty="0">
                <a:latin typeface="Gabriola" panose="04040605051002020D02" pitchFamily="82" charset="0"/>
              </a:rPr>
              <a:t>Lisää Raamatun leivän moninaisia makuja ja käyttötarkoituksia </a:t>
            </a:r>
          </a:p>
          <a:p>
            <a:r>
              <a:rPr lang="fi-FI" sz="3200" dirty="0">
                <a:latin typeface="Gabriola" panose="04040605051002020D02" pitchFamily="82" charset="0"/>
              </a:rPr>
              <a:t>löytyy rovasti Pekka </a:t>
            </a:r>
            <a:r>
              <a:rPr lang="fi-FI" sz="3200" dirty="0" err="1">
                <a:latin typeface="Gabriola" panose="04040605051002020D02" pitchFamily="82" charset="0"/>
              </a:rPr>
              <a:t>Harnen</a:t>
            </a:r>
            <a:r>
              <a:rPr lang="fi-FI" sz="3200" dirty="0">
                <a:latin typeface="Gabriola" panose="04040605051002020D02" pitchFamily="82" charset="0"/>
              </a:rPr>
              <a:t> teoksesta </a:t>
            </a:r>
            <a:r>
              <a:rPr lang="fi-FI" sz="3200" i="1" dirty="0">
                <a:latin typeface="Gabriola" panose="04040605051002020D02" pitchFamily="82" charset="0"/>
              </a:rPr>
              <a:t>Murrettua leipää </a:t>
            </a:r>
          </a:p>
          <a:p>
            <a:r>
              <a:rPr lang="fi-FI" sz="3200" dirty="0">
                <a:latin typeface="Gabriola" panose="04040605051002020D02" pitchFamily="82" charset="0"/>
              </a:rPr>
              <a:t>(Suomen Lähetysseura 2006)</a:t>
            </a:r>
          </a:p>
        </p:txBody>
      </p:sp>
    </p:spTree>
    <p:extLst>
      <p:ext uri="{BB962C8B-B14F-4D97-AF65-F5344CB8AC3E}">
        <p14:creationId xmlns:p14="http://schemas.microsoft.com/office/powerpoint/2010/main" val="3085455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fi-FI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tta maailma olisi oikeudenmukaisempi, valoisampi ja lempeämpi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TASAUS,</a:t>
            </a:r>
          </a:p>
        </p:txBody>
      </p:sp>
    </p:spTree>
    <p:extLst>
      <p:ext uri="{BB962C8B-B14F-4D97-AF65-F5344CB8AC3E}">
        <p14:creationId xmlns:p14="http://schemas.microsoft.com/office/powerpoint/2010/main" val="1967443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4403" y="1414973"/>
            <a:ext cx="7643194" cy="3320311"/>
          </a:xfrm>
        </p:spPr>
        <p:txBody>
          <a:bodyPr>
            <a:normAutofit/>
          </a:bodyPr>
          <a:lstStyle/>
          <a:p>
            <a:pPr algn="l"/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rsiä voi laulaa arjen ja juhlan hetkissä, </a:t>
            </a:r>
          </a:p>
          <a:p>
            <a:pPr algn="l"/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in omassa rukoushetkessä kuin yhdessä muiden kanssa:</a:t>
            </a:r>
          </a:p>
          <a:p>
            <a:pPr algn="l"/>
            <a:endParaRPr lang="fi-FI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amattupiirit, lähetyspiirit, aikuisten kokoontumise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umalanpalvelukse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sten kerho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ortenillat, isoskoulutu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irit, retket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0427" y="614963"/>
            <a:ext cx="9151146" cy="658666"/>
          </a:xfrm>
        </p:spPr>
        <p:txBody>
          <a:bodyPr>
            <a:normAutofit/>
          </a:bodyPr>
          <a:lstStyle/>
          <a:p>
            <a:r>
              <a:rPr lang="fi-FI" dirty="0"/>
              <a:t>Virret</a:t>
            </a:r>
          </a:p>
        </p:txBody>
      </p:sp>
    </p:spTree>
    <p:extLst>
      <p:ext uri="{BB962C8B-B14F-4D97-AF65-F5344CB8AC3E}">
        <p14:creationId xmlns:p14="http://schemas.microsoft.com/office/powerpoint/2010/main" val="3644073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 group of flowers in front of a building&#10;&#10;Description automatically generated with low confidence">
            <a:extLst>
              <a:ext uri="{FF2B5EF4-FFF2-40B4-BE49-F238E27FC236}">
                <a16:creationId xmlns:a16="http://schemas.microsoft.com/office/drawing/2014/main" id="{82365F0D-E8D7-B1B4-7223-FA5D510E9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487" y="-710077"/>
            <a:ext cx="12192000" cy="7635712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59498" y="0"/>
            <a:ext cx="3532502" cy="51816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äskit meidät maailma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viljellä ja varjell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työhön tähän antama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anna meidän taipua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iittäen suo antej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eidän täällä nautti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oikein käyttää lahjojasi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uule meitä, Jumala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391:9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7B34EA31-8EDE-BF11-B11D-1BF84647FCB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4487" y="4778282"/>
            <a:ext cx="12187513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163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8661" y="1219201"/>
            <a:ext cx="4154678" cy="3461657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yös toisiin kristittyihin liittä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yhteinen leipä meidätki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Ruumiisi jäseninä kiittä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nua saamme, armoisi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yt yksi leipä meille suoda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henki yksi meihin luodaa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76718" y="4680858"/>
            <a:ext cx="1396621" cy="554235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220:5</a:t>
            </a:r>
          </a:p>
        </p:txBody>
      </p:sp>
    </p:spTree>
    <p:extLst>
      <p:ext uri="{BB962C8B-B14F-4D97-AF65-F5344CB8AC3E}">
        <p14:creationId xmlns:p14="http://schemas.microsoft.com/office/powerpoint/2010/main" val="2522186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A group of people preparing food&#10;&#10;Description automatically generated with medium confidence">
            <a:extLst>
              <a:ext uri="{FF2B5EF4-FFF2-40B4-BE49-F238E27FC236}">
                <a16:creationId xmlns:a16="http://schemas.microsoft.com/office/drawing/2014/main" id="{61B24394-5CD0-7803-5EBD-9B5E2D4558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270000"/>
            <a:ext cx="12192000" cy="8128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" y="0"/>
            <a:ext cx="2641655" cy="40386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Nyt keskenänne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yös leipä jakakaa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ihminen ihmiseltä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Jumalan lahjat saa.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iis keskenänne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yös leipä jakakaa.</a:t>
            </a:r>
          </a:p>
          <a:p>
            <a:pPr algn="l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12:5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02063764-5A6A-C271-63CE-B71E3712813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11034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785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6973" y="511629"/>
            <a:ext cx="3238053" cy="4147457"/>
          </a:xfrm>
        </p:spPr>
        <p:txBody>
          <a:bodyPr>
            <a:normAutofit lnSpcReduction="10000"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aan sato elon aika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loilta korjataa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jyvät yhteen liittyy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n leipä leivot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äin, Herra, yhteen lii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ydämet kaikkie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uo kirkkoon yksi sielu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rauha taivaine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97550" y="4659086"/>
            <a:ext cx="1317476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231:1</a:t>
            </a:r>
          </a:p>
        </p:txBody>
      </p:sp>
    </p:spTree>
    <p:extLst>
      <p:ext uri="{BB962C8B-B14F-4D97-AF65-F5344CB8AC3E}">
        <p14:creationId xmlns:p14="http://schemas.microsoft.com/office/powerpoint/2010/main" val="1224382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henkilö, henkilöt, useat, väkijoukko&#10;&#10;Kuvaus luotu automaattisesti">
            <a:extLst>
              <a:ext uri="{FF2B5EF4-FFF2-40B4-BE49-F238E27FC236}">
                <a16:creationId xmlns:a16="http://schemas.microsoft.com/office/drawing/2014/main" id="{9E9D91C3-E297-8743-5ABF-636228C8EC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269681"/>
            <a:ext cx="12191524" cy="8127682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475" y="0"/>
            <a:ext cx="3809525" cy="214525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aikki katsovat sinua, Herr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illä sinä annat meille ruokamme ajallaan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473:1a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48747578-B045-3AF4-BC7D-5CA3CAF5F43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079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taivas, ulko, lentävä, taso&#10;&#10;Kuvaus luotu automaattisesti">
            <a:extLst>
              <a:ext uri="{FF2B5EF4-FFF2-40B4-BE49-F238E27FC236}">
                <a16:creationId xmlns:a16="http://schemas.microsoft.com/office/drawing/2014/main" id="{51AB0A91-931A-AF3F-03AA-FF65E5B05A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166746"/>
          </a:xfrm>
          <a:prstGeom prst="rect">
            <a:avLst/>
          </a:prstGeom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B794F3E0-4A7F-F8DE-AACB-1A9B6D707B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07761"/>
            <a:ext cx="12192000" cy="2494802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45828" y="3824038"/>
            <a:ext cx="4946171" cy="230892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Leipää taivaasta tuot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eille itsesi annat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anasta elämän voimaa jaat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alki kuoleman kannat.        </a:t>
            </a:r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59:2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019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22647" y="1381338"/>
            <a:ext cx="3472971" cy="2308920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anan valon anna paist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aikki kansat tavoitt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ttä kaukaisinkin maista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rmon uutisleipää sa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02858" y="3689324"/>
            <a:ext cx="12927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6:6</a:t>
            </a:r>
          </a:p>
        </p:txBody>
      </p:sp>
      <p:sp>
        <p:nvSpPr>
          <p:cNvPr id="4" name="Alaotsikko 1">
            <a:extLst>
              <a:ext uri="{FF2B5EF4-FFF2-40B4-BE49-F238E27FC236}">
                <a16:creationId xmlns:a16="http://schemas.microsoft.com/office/drawing/2014/main" id="{6795D390-B012-8588-1F65-FB44039E26AB}"/>
              </a:ext>
            </a:extLst>
          </p:cNvPr>
          <p:cNvSpPr txBox="1">
            <a:spLocks/>
          </p:cNvSpPr>
          <p:nvPr/>
        </p:nvSpPr>
        <p:spPr>
          <a:xfrm>
            <a:off x="6796384" y="1381339"/>
            <a:ext cx="3418542" cy="23089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sz="3200" i="1" dirty="0">
                <a:latin typeface="Gabriola" panose="04040605051002020D02" pitchFamily="82" charset="0"/>
              </a:rPr>
              <a:t>Leipää merien ta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ikö kaikille yllä?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ristityt, Isämme leiväs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eille riittäisi kyllä!</a:t>
            </a:r>
          </a:p>
        </p:txBody>
      </p:sp>
      <p:sp>
        <p:nvSpPr>
          <p:cNvPr id="5" name="Otsikko 2">
            <a:extLst>
              <a:ext uri="{FF2B5EF4-FFF2-40B4-BE49-F238E27FC236}">
                <a16:creationId xmlns:a16="http://schemas.microsoft.com/office/drawing/2014/main" id="{DFC68E7E-4DF1-5065-E2C0-E766608E1A70}"/>
              </a:ext>
            </a:extLst>
          </p:cNvPr>
          <p:cNvSpPr txBox="1">
            <a:spLocks/>
          </p:cNvSpPr>
          <p:nvPr/>
        </p:nvSpPr>
        <p:spPr>
          <a:xfrm>
            <a:off x="8922167" y="3689324"/>
            <a:ext cx="1292759" cy="5542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3000" dirty="0">
                <a:latin typeface="Gabriola" panose="04040605051002020D02" pitchFamily="82" charset="0"/>
              </a:rPr>
              <a:t>Virsi 59:4</a:t>
            </a:r>
          </a:p>
        </p:txBody>
      </p:sp>
    </p:spTree>
    <p:extLst>
      <p:ext uri="{BB962C8B-B14F-4D97-AF65-F5344CB8AC3E}">
        <p14:creationId xmlns:p14="http://schemas.microsoft.com/office/powerpoint/2010/main" val="1404074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4</TotalTime>
  <Words>652</Words>
  <Application>Microsoft Office PowerPoint</Application>
  <PresentationFormat>Laajakuva</PresentationFormat>
  <Paragraphs>151</Paragraphs>
  <Slides>19</Slides>
  <Notes>1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9</vt:i4>
      </vt:variant>
    </vt:vector>
  </HeadingPairs>
  <TitlesOfParts>
    <vt:vector size="25" baseType="lpstr">
      <vt:lpstr>-apple-system</vt:lpstr>
      <vt:lpstr>Arial</vt:lpstr>
      <vt:lpstr>Calibri</vt:lpstr>
      <vt:lpstr>Gabriola</vt:lpstr>
      <vt:lpstr>Office-teema</vt:lpstr>
      <vt:lpstr>think-cell Slide</vt:lpstr>
      <vt:lpstr>Yhteinen leipämme - virret kuvilla</vt:lpstr>
      <vt:lpstr>Virret</vt:lpstr>
      <vt:lpstr>PowerPoint-esitys</vt:lpstr>
      <vt:lpstr>Virsi 220:5</vt:lpstr>
      <vt:lpstr>PowerPoint-esitys</vt:lpstr>
      <vt:lpstr>Virsi 231:1</vt:lpstr>
      <vt:lpstr>PowerPoint-esitys</vt:lpstr>
      <vt:lpstr>PowerPoint-esitys</vt:lpstr>
      <vt:lpstr>Virsi 46:6</vt:lpstr>
      <vt:lpstr>PowerPoint-esitys</vt:lpstr>
      <vt:lpstr>PowerPoint-esitys</vt:lpstr>
      <vt:lpstr>Virsi 417:1</vt:lpstr>
      <vt:lpstr>PowerPoint-esitys</vt:lpstr>
      <vt:lpstr>Virsi 521:7a</vt:lpstr>
      <vt:lpstr>PowerPoint-esitys</vt:lpstr>
      <vt:lpstr>PowerPoint-esitys</vt:lpstr>
      <vt:lpstr>Jokapäiväinen leipämme:</vt:lpstr>
      <vt:lpstr>PowerPoint-esitys</vt:lpstr>
      <vt:lpstr>TASAUS,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Elo Kirsi</cp:lastModifiedBy>
  <cp:revision>176</cp:revision>
  <dcterms:created xsi:type="dcterms:W3CDTF">2021-03-29T12:00:14Z</dcterms:created>
  <dcterms:modified xsi:type="dcterms:W3CDTF">2022-09-20T09:23:06Z</dcterms:modified>
</cp:coreProperties>
</file>